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4" d="100"/>
          <a:sy n="94" d="100"/>
        </p:scale>
        <p:origin x="972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6" ma:contentTypeDescription="Create a new document." ma:contentTypeScope="" ma:versionID="ba0c03e64be8ee40ecdff530c39fb4b4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e40f2d4fd7089cf71002697928c39dfe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  <xsd:element ref="ns2:lcf76f155ced4ddcb4097134ff3c332f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c12c9beb-9115-4dd4-b4b0-98592a7680e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0852CF4-760D-4C86-B3E5-0A48508144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12c9beb-9115-4dd4-b4b0-98592a7680e2"/>
    <ds:schemaRef ds:uri="9b9b331a-5640-4f50-a010-6cc4266aa3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c12c9beb-9115-4dd4-b4b0-98592a7680e2"/>
    <ds:schemaRef ds:uri="http://purl.org/dc/terms/"/>
    <ds:schemaRef ds:uri="http://schemas.microsoft.com/office/infopath/2007/PartnerControls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elements/1.1/"/>
    <ds:schemaRef ds:uri="http://schemas.openxmlformats.org/package/2006/metadata/core-properties"/>
    <ds:schemaRef ds:uri="9b9b331a-5640-4f50-a010-6cc4266aa39c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5957</TotalTime>
  <Words>452</Words>
  <Application>Microsoft Office PowerPoint</Application>
  <PresentationFormat>Widescreen</PresentationFormat>
  <Paragraphs>3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Build analytics within Fabri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6-27T02:3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  <property fmtid="{D5CDD505-2E9C-101B-9397-08002B2CF9AE}" pid="3" name="MediaServiceImageTags">
    <vt:lpwstr/>
  </property>
</Properties>
</file>